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7"/>
  </p:notesMasterIdLst>
  <p:sldIdLst>
    <p:sldId id="2931" r:id="rId5"/>
    <p:sldId id="2932" r:id="rId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8371F"/>
    <a:srgbClr val="BE301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77DC9FD-1129-4916-8EFA-9CF7C02907C8}" v="4" dt="2026-05-21T12:38:34.576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26" autoAdjust="0"/>
    <p:restoredTop sz="94660"/>
  </p:normalViewPr>
  <p:slideViewPr>
    <p:cSldViewPr snapToGrid="0">
      <p:cViewPr varScale="1">
        <p:scale>
          <a:sx n="69" d="100"/>
          <a:sy n="69" d="100"/>
        </p:scale>
        <p:origin x="568" y="4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13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ableStyles" Target="tableStyles.xml"/><Relationship Id="rId5" Type="http://schemas.openxmlformats.org/officeDocument/2006/relationships/slide" Target="slides/slide1.xml"/><Relationship Id="rId1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ayla Roche" userId="47252ac2-f7df-448a-bc34-8b0c82011b3c" providerId="ADAL" clId="{73A35F7A-F237-44A1-889E-F0CC83712F70}"/>
    <pc:docChg chg="undo redo custSel addSld delSld modSld delMainMaster">
      <pc:chgData name="Kayla Roche" userId="47252ac2-f7df-448a-bc34-8b0c82011b3c" providerId="ADAL" clId="{73A35F7A-F237-44A1-889E-F0CC83712F70}" dt="2026-05-21T12:38:34.576" v="297" actId="478"/>
      <pc:docMkLst>
        <pc:docMk/>
      </pc:docMkLst>
      <pc:sldChg chg="del">
        <pc:chgData name="Kayla Roche" userId="47252ac2-f7df-448a-bc34-8b0c82011b3c" providerId="ADAL" clId="{73A35F7A-F237-44A1-889E-F0CC83712F70}" dt="2026-05-21T12:31:09.429" v="159" actId="2696"/>
        <pc:sldMkLst>
          <pc:docMk/>
          <pc:sldMk cId="2625061247" sldId="256"/>
        </pc:sldMkLst>
      </pc:sldChg>
      <pc:sldChg chg="addSp delSp modSp mod">
        <pc:chgData name="Kayla Roche" userId="47252ac2-f7df-448a-bc34-8b0c82011b3c" providerId="ADAL" clId="{73A35F7A-F237-44A1-889E-F0CC83712F70}" dt="2026-05-21T12:35:21.908" v="218" actId="113"/>
        <pc:sldMkLst>
          <pc:docMk/>
          <pc:sldMk cId="279080386" sldId="2931"/>
        </pc:sldMkLst>
        <pc:spChg chg="mod">
          <ac:chgData name="Kayla Roche" userId="47252ac2-f7df-448a-bc34-8b0c82011b3c" providerId="ADAL" clId="{73A35F7A-F237-44A1-889E-F0CC83712F70}" dt="2026-05-20T01:21:41.499" v="72" actId="2711"/>
          <ac:spMkLst>
            <pc:docMk/>
            <pc:sldMk cId="279080386" sldId="2931"/>
            <ac:spMk id="6" creationId="{1EDE02D7-8F13-8A7D-C82D-522AFA44B260}"/>
          </ac:spMkLst>
        </pc:spChg>
        <pc:spChg chg="mod">
          <ac:chgData name="Kayla Roche" userId="47252ac2-f7df-448a-bc34-8b0c82011b3c" providerId="ADAL" clId="{73A35F7A-F237-44A1-889E-F0CC83712F70}" dt="2026-05-21T12:35:21.908" v="218" actId="113"/>
          <ac:spMkLst>
            <pc:docMk/>
            <pc:sldMk cId="279080386" sldId="2931"/>
            <ac:spMk id="8" creationId="{AB1C3DA0-A4C8-AB78-3123-085C3F44CA6E}"/>
          </ac:spMkLst>
        </pc:spChg>
        <pc:picChg chg="add mod">
          <ac:chgData name="Kayla Roche" userId="47252ac2-f7df-448a-bc34-8b0c82011b3c" providerId="ADAL" clId="{73A35F7A-F237-44A1-889E-F0CC83712F70}" dt="2026-05-21T12:35:11.492" v="201" actId="1076"/>
          <ac:picMkLst>
            <pc:docMk/>
            <pc:sldMk cId="279080386" sldId="2931"/>
            <ac:picMk id="3" creationId="{C27F355C-0324-BF1B-7CFA-4DB41E9692A5}"/>
          </ac:picMkLst>
        </pc:picChg>
        <pc:picChg chg="del">
          <ac:chgData name="Kayla Roche" userId="47252ac2-f7df-448a-bc34-8b0c82011b3c" providerId="ADAL" clId="{73A35F7A-F237-44A1-889E-F0CC83712F70}" dt="2026-05-20T15:10:06.454" v="149" actId="478"/>
          <ac:picMkLst>
            <pc:docMk/>
            <pc:sldMk cId="279080386" sldId="2931"/>
            <ac:picMk id="7" creationId="{6EA90EE4-C8D6-5394-D3CE-3665A6BEA9B3}"/>
          </ac:picMkLst>
        </pc:picChg>
        <pc:picChg chg="add del mod modCrop">
          <ac:chgData name="Kayla Roche" userId="47252ac2-f7df-448a-bc34-8b0c82011b3c" providerId="ADAL" clId="{73A35F7A-F237-44A1-889E-F0CC83712F70}" dt="2026-05-20T15:10:27.211" v="158" actId="478"/>
          <ac:picMkLst>
            <pc:docMk/>
            <pc:sldMk cId="279080386" sldId="2931"/>
            <ac:picMk id="10" creationId="{2F9BBFCA-394C-CA2B-11DD-7D9C173B9D55}"/>
          </ac:picMkLst>
        </pc:picChg>
      </pc:sldChg>
      <pc:sldChg chg="addSp delSp modSp add mod">
        <pc:chgData name="Kayla Roche" userId="47252ac2-f7df-448a-bc34-8b0c82011b3c" providerId="ADAL" clId="{73A35F7A-F237-44A1-889E-F0CC83712F70}" dt="2026-05-21T12:38:34.576" v="297" actId="478"/>
        <pc:sldMkLst>
          <pc:docMk/>
          <pc:sldMk cId="1238956764" sldId="2932"/>
        </pc:sldMkLst>
        <pc:spChg chg="del">
          <ac:chgData name="Kayla Roche" userId="47252ac2-f7df-448a-bc34-8b0c82011b3c" providerId="ADAL" clId="{73A35F7A-F237-44A1-889E-F0CC83712F70}" dt="2026-05-21T12:34:11.200" v="162" actId="478"/>
          <ac:spMkLst>
            <pc:docMk/>
            <pc:sldMk cId="1238956764" sldId="2932"/>
            <ac:spMk id="6" creationId="{FB344E6A-0114-9252-29BA-C398A713D47B}"/>
          </ac:spMkLst>
        </pc:spChg>
        <pc:spChg chg="del">
          <ac:chgData name="Kayla Roche" userId="47252ac2-f7df-448a-bc34-8b0c82011b3c" providerId="ADAL" clId="{73A35F7A-F237-44A1-889E-F0CC83712F70}" dt="2026-05-21T12:34:10.021" v="161" actId="478"/>
          <ac:spMkLst>
            <pc:docMk/>
            <pc:sldMk cId="1238956764" sldId="2932"/>
            <ac:spMk id="8" creationId="{4087CDCF-BDAA-9EE3-DDB5-5ED4A9C251CC}"/>
          </ac:spMkLst>
        </pc:spChg>
        <pc:graphicFrameChg chg="add mod modGraphic">
          <ac:chgData name="Kayla Roche" userId="47252ac2-f7df-448a-bc34-8b0c82011b3c" providerId="ADAL" clId="{73A35F7A-F237-44A1-889E-F0CC83712F70}" dt="2026-05-21T12:38:32.799" v="296" actId="20577"/>
          <ac:graphicFrameMkLst>
            <pc:docMk/>
            <pc:sldMk cId="1238956764" sldId="2932"/>
            <ac:graphicFrameMk id="2" creationId="{E2410B8B-57FA-6F8F-742E-26E2CB5E6EF5}"/>
          </ac:graphicFrameMkLst>
        </pc:graphicFrameChg>
        <pc:picChg chg="add del mod">
          <ac:chgData name="Kayla Roche" userId="47252ac2-f7df-448a-bc34-8b0c82011b3c" providerId="ADAL" clId="{73A35F7A-F237-44A1-889E-F0CC83712F70}" dt="2026-05-21T12:35:03.228" v="195" actId="478"/>
          <ac:picMkLst>
            <pc:docMk/>
            <pc:sldMk cId="1238956764" sldId="2932"/>
            <ac:picMk id="5" creationId="{AADDCA0E-3A26-1CAA-F5BB-36EB5E826F9A}"/>
          </ac:picMkLst>
        </pc:picChg>
        <pc:picChg chg="add del mod">
          <ac:chgData name="Kayla Roche" userId="47252ac2-f7df-448a-bc34-8b0c82011b3c" providerId="ADAL" clId="{73A35F7A-F237-44A1-889E-F0CC83712F70}" dt="2026-05-21T12:38:34.576" v="297" actId="478"/>
          <ac:picMkLst>
            <pc:docMk/>
            <pc:sldMk cId="1238956764" sldId="2932"/>
            <ac:picMk id="1026" creationId="{AD7B74A1-EB6B-EF03-D6F5-5CC6B6CCF46F}"/>
          </ac:picMkLst>
        </pc:picChg>
      </pc:sldChg>
      <pc:sldMasterChg chg="del delSldLayout">
        <pc:chgData name="Kayla Roche" userId="47252ac2-f7df-448a-bc34-8b0c82011b3c" providerId="ADAL" clId="{73A35F7A-F237-44A1-889E-F0CC83712F70}" dt="2026-05-21T12:31:09.429" v="159" actId="2696"/>
        <pc:sldMasterMkLst>
          <pc:docMk/>
          <pc:sldMasterMk cId="2069361368" sldId="2147483648"/>
        </pc:sldMasterMkLst>
        <pc:sldLayoutChg chg="del">
          <pc:chgData name="Kayla Roche" userId="47252ac2-f7df-448a-bc34-8b0c82011b3c" providerId="ADAL" clId="{73A35F7A-F237-44A1-889E-F0CC83712F70}" dt="2026-05-21T12:31:09.429" v="159" actId="2696"/>
          <pc:sldLayoutMkLst>
            <pc:docMk/>
            <pc:sldMasterMk cId="2069361368" sldId="2147483648"/>
            <pc:sldLayoutMk cId="3385063374" sldId="2147483649"/>
          </pc:sldLayoutMkLst>
        </pc:sldLayoutChg>
        <pc:sldLayoutChg chg="del">
          <pc:chgData name="Kayla Roche" userId="47252ac2-f7df-448a-bc34-8b0c82011b3c" providerId="ADAL" clId="{73A35F7A-F237-44A1-889E-F0CC83712F70}" dt="2026-05-21T12:31:09.429" v="159" actId="2696"/>
          <pc:sldLayoutMkLst>
            <pc:docMk/>
            <pc:sldMasterMk cId="2069361368" sldId="2147483648"/>
            <pc:sldLayoutMk cId="368863154" sldId="2147483650"/>
          </pc:sldLayoutMkLst>
        </pc:sldLayoutChg>
        <pc:sldLayoutChg chg="del">
          <pc:chgData name="Kayla Roche" userId="47252ac2-f7df-448a-bc34-8b0c82011b3c" providerId="ADAL" clId="{73A35F7A-F237-44A1-889E-F0CC83712F70}" dt="2026-05-21T12:31:09.429" v="159" actId="2696"/>
          <pc:sldLayoutMkLst>
            <pc:docMk/>
            <pc:sldMasterMk cId="2069361368" sldId="2147483648"/>
            <pc:sldLayoutMk cId="527302608" sldId="2147483651"/>
          </pc:sldLayoutMkLst>
        </pc:sldLayoutChg>
        <pc:sldLayoutChg chg="del">
          <pc:chgData name="Kayla Roche" userId="47252ac2-f7df-448a-bc34-8b0c82011b3c" providerId="ADAL" clId="{73A35F7A-F237-44A1-889E-F0CC83712F70}" dt="2026-05-21T12:31:09.429" v="159" actId="2696"/>
          <pc:sldLayoutMkLst>
            <pc:docMk/>
            <pc:sldMasterMk cId="2069361368" sldId="2147483648"/>
            <pc:sldLayoutMk cId="170113608" sldId="2147483652"/>
          </pc:sldLayoutMkLst>
        </pc:sldLayoutChg>
        <pc:sldLayoutChg chg="del">
          <pc:chgData name="Kayla Roche" userId="47252ac2-f7df-448a-bc34-8b0c82011b3c" providerId="ADAL" clId="{73A35F7A-F237-44A1-889E-F0CC83712F70}" dt="2026-05-21T12:31:09.429" v="159" actId="2696"/>
          <pc:sldLayoutMkLst>
            <pc:docMk/>
            <pc:sldMasterMk cId="2069361368" sldId="2147483648"/>
            <pc:sldLayoutMk cId="1652824493" sldId="2147483653"/>
          </pc:sldLayoutMkLst>
        </pc:sldLayoutChg>
        <pc:sldLayoutChg chg="del">
          <pc:chgData name="Kayla Roche" userId="47252ac2-f7df-448a-bc34-8b0c82011b3c" providerId="ADAL" clId="{73A35F7A-F237-44A1-889E-F0CC83712F70}" dt="2026-05-21T12:31:09.429" v="159" actId="2696"/>
          <pc:sldLayoutMkLst>
            <pc:docMk/>
            <pc:sldMasterMk cId="2069361368" sldId="2147483648"/>
            <pc:sldLayoutMk cId="3531400133" sldId="2147483654"/>
          </pc:sldLayoutMkLst>
        </pc:sldLayoutChg>
        <pc:sldLayoutChg chg="del">
          <pc:chgData name="Kayla Roche" userId="47252ac2-f7df-448a-bc34-8b0c82011b3c" providerId="ADAL" clId="{73A35F7A-F237-44A1-889E-F0CC83712F70}" dt="2026-05-21T12:31:09.429" v="159" actId="2696"/>
          <pc:sldLayoutMkLst>
            <pc:docMk/>
            <pc:sldMasterMk cId="2069361368" sldId="2147483648"/>
            <pc:sldLayoutMk cId="3694989559" sldId="2147483655"/>
          </pc:sldLayoutMkLst>
        </pc:sldLayoutChg>
        <pc:sldLayoutChg chg="del">
          <pc:chgData name="Kayla Roche" userId="47252ac2-f7df-448a-bc34-8b0c82011b3c" providerId="ADAL" clId="{73A35F7A-F237-44A1-889E-F0CC83712F70}" dt="2026-05-21T12:31:09.429" v="159" actId="2696"/>
          <pc:sldLayoutMkLst>
            <pc:docMk/>
            <pc:sldMasterMk cId="2069361368" sldId="2147483648"/>
            <pc:sldLayoutMk cId="1436437850" sldId="2147483656"/>
          </pc:sldLayoutMkLst>
        </pc:sldLayoutChg>
        <pc:sldLayoutChg chg="del">
          <pc:chgData name="Kayla Roche" userId="47252ac2-f7df-448a-bc34-8b0c82011b3c" providerId="ADAL" clId="{73A35F7A-F237-44A1-889E-F0CC83712F70}" dt="2026-05-21T12:31:09.429" v="159" actId="2696"/>
          <pc:sldLayoutMkLst>
            <pc:docMk/>
            <pc:sldMasterMk cId="2069361368" sldId="2147483648"/>
            <pc:sldLayoutMk cId="37901296" sldId="2147483657"/>
          </pc:sldLayoutMkLst>
        </pc:sldLayoutChg>
        <pc:sldLayoutChg chg="del">
          <pc:chgData name="Kayla Roche" userId="47252ac2-f7df-448a-bc34-8b0c82011b3c" providerId="ADAL" clId="{73A35F7A-F237-44A1-889E-F0CC83712F70}" dt="2026-05-21T12:31:09.429" v="159" actId="2696"/>
          <pc:sldLayoutMkLst>
            <pc:docMk/>
            <pc:sldMasterMk cId="2069361368" sldId="2147483648"/>
            <pc:sldLayoutMk cId="1142039967" sldId="2147483658"/>
          </pc:sldLayoutMkLst>
        </pc:sldLayoutChg>
        <pc:sldLayoutChg chg="del">
          <pc:chgData name="Kayla Roche" userId="47252ac2-f7df-448a-bc34-8b0c82011b3c" providerId="ADAL" clId="{73A35F7A-F237-44A1-889E-F0CC83712F70}" dt="2026-05-21T12:31:09.429" v="159" actId="2696"/>
          <pc:sldLayoutMkLst>
            <pc:docMk/>
            <pc:sldMasterMk cId="2069361368" sldId="2147483648"/>
            <pc:sldLayoutMk cId="727502208" sldId="2147483659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E9F6E8-BD81-4BA1-BDF4-BD08E3BBCC75}" type="datetimeFigureOut">
              <a:rPr lang="en-US" smtClean="0"/>
              <a:t>5/21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4229AFA-1450-48F9-8C72-E73088CDC27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005698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041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53BCAE-C0F9-4717-8A60-F79225729437}" type="slidenum">
              <a:rPr kumimoji="0" lang="pt-PT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 Book" pitchFamily="2" charset="0"/>
                <a:ea typeface="+mn-ea"/>
                <a:cs typeface="+mn-cs"/>
              </a:rPr>
              <a:pPr marL="0" marR="0" lvl="0" indent="0" algn="r" defTabSz="90415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pt-P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 Book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897504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CF100F0-E67D-BF01-66A8-DCD320EB5F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F4603B6-AFF2-780C-2689-B5216C0ADEA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D9C66AB-3657-E381-D39F-B35B7848321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448CEFF-8C7C-266D-2348-0DC34AADEBC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041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53BCAE-C0F9-4717-8A60-F79225729437}" type="slidenum">
              <a:rPr kumimoji="0" lang="pt-PT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 Book" pitchFamily="2" charset="0"/>
                <a:ea typeface="+mn-ea"/>
                <a:cs typeface="+mn-cs"/>
              </a:rPr>
              <a:pPr marL="0" marR="0" lvl="0" indent="0" algn="r" defTabSz="90415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pt-P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 Book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582502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Section Divider">
    <p:bg>
      <p:bgPr>
        <a:solidFill>
          <a:srgbClr val="6633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7">
            <a:extLst>
              <a:ext uri="{FF2B5EF4-FFF2-40B4-BE49-F238E27FC236}">
                <a16:creationId xmlns:a16="http://schemas.microsoft.com/office/drawing/2014/main" id="{FE98B5DB-80ED-DA11-A2A5-42C8F69D1284}"/>
              </a:ext>
            </a:extLst>
          </p:cNvPr>
          <p:cNvSpPr txBox="1">
            <a:spLocks/>
          </p:cNvSpPr>
          <p:nvPr userDrawn="1"/>
        </p:nvSpPr>
        <p:spPr>
          <a:xfrm>
            <a:off x="311650" y="282026"/>
            <a:ext cx="11568700" cy="629394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vert="horz" lIns="182870" tIns="182870" rIns="182870" bIns="182870" rtlCol="0">
            <a:noAutofit/>
          </a:bodyPr>
          <a:lstStyle>
            <a:lvl1pPr marL="0" indent="0" algn="l" defTabSz="914126" rtl="0" eaLnBrk="1" latinLnBrk="0" hangingPunct="1">
              <a:lnSpc>
                <a:spcPct val="100000"/>
              </a:lnSpc>
              <a:spcBef>
                <a:spcPts val="1200"/>
              </a:spcBef>
              <a:buFont typeface="Helvetica" pitchFamily="2" charset="0"/>
              <a:buNone/>
              <a:tabLst/>
              <a:defRPr sz="1999" b="1" i="0" kern="1200" cap="all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9525" indent="0" algn="l" defTabSz="914126" rtl="0" eaLnBrk="1" latinLnBrk="0" hangingPunct="1">
              <a:lnSpc>
                <a:spcPct val="100000"/>
              </a:lnSpc>
              <a:spcBef>
                <a:spcPts val="1200"/>
              </a:spcBef>
              <a:buFont typeface="Helvetica" pitchFamily="2" charset="0"/>
              <a:buNone/>
              <a:tabLst/>
              <a:defRPr sz="16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80975" indent="-171450" algn="l" defTabSz="914126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tabLst/>
              <a:defRPr sz="16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468313" indent="-227013" algn="l" defTabSz="914126" rtl="0" eaLnBrk="1" latinLnBrk="0" hangingPunct="1">
              <a:lnSpc>
                <a:spcPct val="100000"/>
              </a:lnSpc>
              <a:spcBef>
                <a:spcPts val="600"/>
              </a:spcBef>
              <a:buFont typeface="System Font Regular"/>
              <a:buChar char="–"/>
              <a:tabLst/>
              <a:defRPr sz="14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60425" indent="-211138" algn="l" defTabSz="914126" rtl="0" eaLnBrk="1" latinLnBrk="0" hangingPunct="1">
              <a:lnSpc>
                <a:spcPct val="100000"/>
              </a:lnSpc>
              <a:spcBef>
                <a:spcPts val="600"/>
              </a:spcBef>
              <a:buFont typeface="System Font Regular"/>
              <a:buChar char="–"/>
              <a:tabLst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3846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08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1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2" indent="0" algn="ctr" defTabSz="9141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  <a:p>
            <a:pPr marL="9525" marR="0" lvl="2" indent="0" algn="ctr" defTabSz="91412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  <a:p>
            <a:pPr marL="0" marR="0" lvl="0" indent="0" algn="ctr" defTabSz="91412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Helvetica" pitchFamily="2" charset="0"/>
              <a:buNone/>
              <a:tabLst/>
              <a:defRPr/>
            </a:pPr>
            <a:endParaRPr kumimoji="0" lang="en-US" sz="2000" b="1" i="0" u="none" strike="noStrike" kern="1200" cap="all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DBC535B-8CC7-B04C-9274-203AD997BB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69409CA-9370-C044-8A4A-5B2E7EDDFB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EE03AB60-1B00-7848-A030-49729B548BD2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8" name="Title 3">
            <a:extLst>
              <a:ext uri="{FF2B5EF4-FFF2-40B4-BE49-F238E27FC236}">
                <a16:creationId xmlns:a16="http://schemas.microsoft.com/office/drawing/2014/main" id="{D857D99C-4AE0-408B-AB0F-E873D1BDF909}"/>
              </a:ext>
            </a:extLst>
          </p:cNvPr>
          <p:cNvSpPr txBox="1">
            <a:spLocks/>
          </p:cNvSpPr>
          <p:nvPr userDrawn="1"/>
        </p:nvSpPr>
        <p:spPr>
          <a:xfrm>
            <a:off x="548642" y="457200"/>
            <a:ext cx="11219950" cy="596900"/>
          </a:xfrm>
          <a:prstGeom prst="callout1">
            <a:avLst>
              <a:gd name="adj1" fmla="val 18364"/>
              <a:gd name="adj2" fmla="val -36"/>
              <a:gd name="adj3" fmla="val 74094"/>
              <a:gd name="adj4" fmla="val -33"/>
            </a:avLst>
          </a:prstGeom>
          <a:ln w="9525">
            <a:solidFill>
              <a:srgbClr val="663300"/>
            </a:solidFill>
          </a:ln>
        </p:spPr>
        <p:txBody>
          <a:bodyPr vert="horz" lIns="182870" tIns="45717" rIns="91435" bIns="45717" rtlCol="0" anchor="t">
            <a:noAutofit/>
          </a:bodyPr>
          <a:lstStyle>
            <a:lvl1pPr algn="l" defTabSz="914126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i="0" kern="1200" cap="all" spc="180" baseline="0">
                <a:solidFill>
                  <a:schemeClr val="tx1"/>
                </a:solidFill>
                <a:latin typeface="+mj-lt"/>
                <a:ea typeface="Tahoma" panose="020B0604030504040204" pitchFamily="34" charset="0"/>
                <a:cs typeface="Arial Black" panose="020B0604020202020204" pitchFamily="34" charset="0"/>
              </a:defRPr>
            </a:lvl1pPr>
          </a:lstStyle>
          <a:p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1289828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pos="3840">
          <p15:clr>
            <a:srgbClr val="FBAE40"/>
          </p15:clr>
        </p15:guide>
        <p15:guide id="4" pos="192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Section Divider">
    <p:bg>
      <p:bgPr>
        <a:solidFill>
          <a:srgbClr val="6633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35FBB1E8-D2C4-6C5D-15E0-85BFCC8150A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95760" y="353324"/>
            <a:ext cx="11400481" cy="6122103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2C1FA6D5-D464-46DA-BA69-5E620B8BF694}"/>
              </a:ext>
            </a:extLst>
          </p:cNvPr>
          <p:cNvSpPr/>
          <p:nvPr userDrawn="1"/>
        </p:nvSpPr>
        <p:spPr>
          <a:xfrm>
            <a:off x="395760" y="353323"/>
            <a:ext cx="11400481" cy="6122103"/>
          </a:xfrm>
          <a:prstGeom prst="rect">
            <a:avLst/>
          </a:prstGeom>
          <a:solidFill>
            <a:schemeClr val="bg2">
              <a:alpha val="4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5" dirty="0"/>
          </a:p>
        </p:txBody>
      </p:sp>
    </p:spTree>
    <p:extLst>
      <p:ext uri="{BB962C8B-B14F-4D97-AF65-F5344CB8AC3E}">
        <p14:creationId xmlns:p14="http://schemas.microsoft.com/office/powerpoint/2010/main" val="1832093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pos="3840">
          <p15:clr>
            <a:srgbClr val="FBAE40"/>
          </p15:clr>
        </p15:guide>
        <p15:guide id="4" pos="192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4F97591-D29F-4997-8E1A-2AA0F5F392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7667620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4F97591-D29F-4997-8E1A-2AA0F5F392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CB66AFB-ED03-1244-81DC-F556C67ABF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8642" y="457200"/>
            <a:ext cx="11219950" cy="596900"/>
          </a:xfrm>
          <a:prstGeom prst="callout1">
            <a:avLst>
              <a:gd name="adj1" fmla="val 18364"/>
              <a:gd name="adj2" fmla="val -36"/>
              <a:gd name="adj3" fmla="val 74094"/>
              <a:gd name="adj4" fmla="val -33"/>
            </a:avLst>
          </a:prstGeom>
          <a:ln w="9525">
            <a:solidFill>
              <a:schemeClr val="accent1"/>
            </a:solidFill>
          </a:ln>
        </p:spPr>
        <p:txBody>
          <a:bodyPr vert="horz" lIns="182880" tIns="45720" rIns="91440" bIns="45720" rtlCol="0" anchor="t">
            <a:noAutofit/>
          </a:bodyPr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55CCDEF-7453-1943-B022-69C7BC0AFAF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48641" y="1645921"/>
            <a:ext cx="11219951" cy="4572000"/>
          </a:xfrm>
          <a:prstGeom prst="rect">
            <a:avLst/>
          </a:prstGeom>
        </p:spPr>
        <p:txBody>
          <a:bodyPr vert="horz" lIns="182880" tIns="45720" rIns="91440" bIns="4572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E7C1DD9-29BD-0045-940A-0E0BD1C406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8640" y="6581927"/>
            <a:ext cx="4114800" cy="276073"/>
          </a:xfrm>
          <a:prstGeom prst="rect">
            <a:avLst/>
          </a:prstGeom>
        </p:spPr>
        <p:txBody>
          <a:bodyPr vert="horz" lIns="182880" tIns="45720" rIns="91440" bIns="45720" rtlCol="0" anchor="ctr"/>
          <a:lstStyle>
            <a:lvl1pPr algn="l">
              <a:defRPr sz="1000" b="1" i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defTabSz="914120"/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3DBAAB8-28D9-C14E-B824-3806D1E470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70472" y="6572782"/>
            <a:ext cx="621527" cy="28521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1" i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defTabSz="914120"/>
            <a:fld id="{EE03AB60-1B00-7848-A030-49729B548BD2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 defTabSz="914120"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5427C364-12DB-6544-8F99-EEDE0EE7B5CA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58401" y="521611"/>
            <a:ext cx="1704637" cy="468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95310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120" rtl="0" eaLnBrk="1" latinLnBrk="0" hangingPunct="1">
        <a:lnSpc>
          <a:spcPct val="100000"/>
        </a:lnSpc>
        <a:spcBef>
          <a:spcPct val="0"/>
        </a:spcBef>
        <a:buNone/>
        <a:defRPr sz="2800" b="1" i="0" kern="1200" cap="all" spc="180" baseline="0">
          <a:solidFill>
            <a:schemeClr val="tx1"/>
          </a:solidFill>
          <a:latin typeface="+mj-lt"/>
          <a:ea typeface="Tahoma" panose="020B0604030504040204" pitchFamily="34" charset="0"/>
          <a:cs typeface="Arial Black" panose="020B0604020202020204" pitchFamily="34" charset="0"/>
        </a:defRPr>
      </a:lvl1pPr>
    </p:titleStyle>
    <p:bodyStyle>
      <a:lvl1pPr marL="0" indent="0" algn="l" defTabSz="914120" rtl="0" eaLnBrk="1" latinLnBrk="0" hangingPunct="1">
        <a:lnSpc>
          <a:spcPct val="100000"/>
        </a:lnSpc>
        <a:spcBef>
          <a:spcPts val="1200"/>
        </a:spcBef>
        <a:buFont typeface="Helvetica" pitchFamily="2" charset="0"/>
        <a:buNone/>
        <a:tabLst/>
        <a:defRPr sz="1999" b="1" i="0" kern="1200" cap="all" baseline="0">
          <a:solidFill>
            <a:schemeClr val="accent1"/>
          </a:solidFill>
          <a:latin typeface="+mn-lt"/>
          <a:ea typeface="+mn-ea"/>
          <a:cs typeface="+mn-cs"/>
        </a:defRPr>
      </a:lvl1pPr>
      <a:lvl2pPr marL="9525" indent="0" algn="l" defTabSz="914120" rtl="0" eaLnBrk="1" latinLnBrk="0" hangingPunct="1">
        <a:lnSpc>
          <a:spcPct val="100000"/>
        </a:lnSpc>
        <a:spcBef>
          <a:spcPts val="1200"/>
        </a:spcBef>
        <a:buFont typeface="Helvetica" pitchFamily="2" charset="0"/>
        <a:buNone/>
        <a:tabLst/>
        <a:defRPr sz="16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180973" indent="-171449" algn="l" defTabSz="91412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tabLst/>
        <a:defRPr sz="1600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468309" indent="-227012" algn="l" defTabSz="914120" rtl="0" eaLnBrk="1" latinLnBrk="0" hangingPunct="1">
        <a:lnSpc>
          <a:spcPct val="100000"/>
        </a:lnSpc>
        <a:spcBef>
          <a:spcPts val="600"/>
        </a:spcBef>
        <a:buFont typeface="System Font Regular"/>
        <a:buChar char="–"/>
        <a:tabLst/>
        <a:defRPr sz="1400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860419" indent="-211137" algn="l" defTabSz="914120" rtl="0" eaLnBrk="1" latinLnBrk="0" hangingPunct="1">
        <a:lnSpc>
          <a:spcPct val="100000"/>
        </a:lnSpc>
        <a:spcBef>
          <a:spcPts val="600"/>
        </a:spcBef>
        <a:buFont typeface="System Font Regular"/>
        <a:buChar char="–"/>
        <a:tabLst/>
        <a:defRPr sz="1200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3829" indent="-228530" algn="l" defTabSz="91412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888" indent="-228530" algn="l" defTabSz="91412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948" indent="-228530" algn="l" defTabSz="91412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008" indent="-228530" algn="l" defTabSz="91412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20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0" algn="l" defTabSz="914120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0" algn="l" defTabSz="914120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0" algn="l" defTabSz="914120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39" algn="l" defTabSz="914120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298" algn="l" defTabSz="914120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59" algn="l" defTabSz="914120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18" algn="l" defTabSz="914120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478" algn="l" defTabSz="914120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A8371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FFF74FF-7A5D-10F2-D941-A80DC6D0A613}"/>
              </a:ext>
            </a:extLst>
          </p:cNvPr>
          <p:cNvSpPr/>
          <p:nvPr/>
        </p:nvSpPr>
        <p:spPr>
          <a:xfrm>
            <a:off x="426741" y="477136"/>
            <a:ext cx="223854" cy="50045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6777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5">
              <a:solidFill>
                <a:srgbClr val="FFFFFF"/>
              </a:solidFill>
              <a:latin typeface="Century Gothic" panose="020F0302020204030204"/>
            </a:endParaRPr>
          </a:p>
        </p:txBody>
      </p:sp>
      <p:sp>
        <p:nvSpPr>
          <p:cNvPr id="6" name="Title 4">
            <a:extLst>
              <a:ext uri="{FF2B5EF4-FFF2-40B4-BE49-F238E27FC236}">
                <a16:creationId xmlns:a16="http://schemas.microsoft.com/office/drawing/2014/main" id="{1EDE02D7-8F13-8A7D-C82D-522AFA44B260}"/>
              </a:ext>
            </a:extLst>
          </p:cNvPr>
          <p:cNvSpPr txBox="1">
            <a:spLocks/>
          </p:cNvSpPr>
          <p:nvPr/>
        </p:nvSpPr>
        <p:spPr>
          <a:xfrm>
            <a:off x="557160" y="457372"/>
            <a:ext cx="11219299" cy="596866"/>
          </a:xfrm>
          <a:prstGeom prst="callout1">
            <a:avLst>
              <a:gd name="adj1" fmla="val 18364"/>
              <a:gd name="adj2" fmla="val -36"/>
              <a:gd name="adj3" fmla="val 74094"/>
              <a:gd name="adj4" fmla="val -33"/>
            </a:avLst>
          </a:prstGeom>
          <a:ln>
            <a:solidFill>
              <a:srgbClr val="663300"/>
            </a:solidFill>
          </a:ln>
        </p:spPr>
        <p:txBody>
          <a:bodyPr/>
          <a:lstStyle>
            <a:lvl1pPr algn="l" defTabSz="914126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i="0" kern="1200" cap="all" spc="180" baseline="0">
                <a:solidFill>
                  <a:schemeClr val="tx1"/>
                </a:solidFill>
                <a:latin typeface="+mj-lt"/>
                <a:ea typeface="Tahoma" panose="020B0604030504040204" pitchFamily="34" charset="0"/>
                <a:cs typeface="Arial Black" panose="020B0604020202020204" pitchFamily="34" charset="0"/>
              </a:defRPr>
            </a:lvl1pPr>
          </a:lstStyle>
          <a:p>
            <a:pPr defTabSz="914120">
              <a:defRPr/>
            </a:pPr>
            <a:r>
              <a:rPr lang="en-US" dirty="0">
                <a:solidFill>
                  <a:srgbClr val="000000"/>
                </a:solidFill>
                <a:latin typeface="Perpetua" panose="02020502060401020303" pitchFamily="18" charset="0"/>
              </a:rPr>
              <a:t>Constantino spirit drink </a:t>
            </a:r>
          </a:p>
        </p:txBody>
      </p:sp>
      <p:sp>
        <p:nvSpPr>
          <p:cNvPr id="8" name="TextBox 76">
            <a:extLst>
              <a:ext uri="{FF2B5EF4-FFF2-40B4-BE49-F238E27FC236}">
                <a16:creationId xmlns:a16="http://schemas.microsoft.com/office/drawing/2014/main" id="{AB1C3DA0-A4C8-AB78-3123-085C3F44CA6E}"/>
              </a:ext>
            </a:extLst>
          </p:cNvPr>
          <p:cNvSpPr txBox="1"/>
          <p:nvPr/>
        </p:nvSpPr>
        <p:spPr>
          <a:xfrm>
            <a:off x="3218398" y="977591"/>
            <a:ext cx="8416442" cy="563447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6777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srgbClr val="C46B3E"/>
              </a:solidFill>
              <a:effectLst/>
              <a:uLnTx/>
              <a:uFillTx/>
              <a:latin typeface="Perpetua" panose="02020502060401020303" pitchFamily="18" charset="0"/>
            </a:endParaRPr>
          </a:p>
          <a:p>
            <a:pPr marL="0" marR="0" lvl="0" indent="0" algn="l" defTabSz="916777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A8371F"/>
                </a:solidFill>
                <a:effectLst/>
                <a:uLnTx/>
                <a:uFillTx/>
                <a:latin typeface="Perpetua" panose="02020502060401020303" pitchFamily="18" charset="0"/>
              </a:rPr>
              <a:t>About Constantino: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latin typeface="Perpetua" panose="02020502060401020303" pitchFamily="18" charset="0"/>
              </a:rPr>
              <a:t>Famous for excellence in Portugal for over a century. Constantino’s reputation was built through a passionate pursuit of exceptional aged spirits. Enjoy its amber hue, rich aroma, and layered notes of oak and spice, delivering a smooth, velvety palate and an elegant, lasting finish.</a:t>
            </a:r>
          </a:p>
          <a:p>
            <a:pPr marL="0" marR="0" lvl="0" indent="0" algn="l" defTabSz="916777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C46B3E"/>
              </a:solidFill>
              <a:effectLst/>
              <a:uLnTx/>
              <a:uFillTx/>
              <a:latin typeface="Perpetua" panose="02020502060401020303" pitchFamily="18" charset="0"/>
            </a:endParaRPr>
          </a:p>
          <a:p>
            <a:pPr lvl="0" defTabSz="9167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A8371F"/>
                </a:solidFill>
                <a:effectLst/>
                <a:uLnTx/>
                <a:uFillTx/>
                <a:latin typeface="Perpetua" panose="02020502060401020303" pitchFamily="18" charset="0"/>
              </a:rPr>
              <a:t>Tasting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C46B3E"/>
                </a:solidFill>
                <a:effectLst/>
                <a:uLnTx/>
                <a:uFillTx/>
                <a:latin typeface="Perpetua" panose="02020502060401020303" pitchFamily="18" charset="0"/>
              </a:rPr>
              <a:t>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A8371F"/>
                </a:solidFill>
                <a:effectLst/>
                <a:uLnTx/>
                <a:uFillTx/>
                <a:latin typeface="Perpetua" panose="02020502060401020303" pitchFamily="18" charset="0"/>
              </a:rPr>
              <a:t>Notes: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latin typeface="Perpetua" panose="02020502060401020303" pitchFamily="18" charset="0"/>
              </a:rPr>
              <a:t>Golden amber in color with an intense aroma of warm spice, toasted almond, and oak. Smooth and refined on the palate, with balanced richness and a warming finish.</a:t>
            </a:r>
          </a:p>
          <a:p>
            <a:pPr marL="0" marR="0" lvl="0" indent="0" algn="l" defTabSz="916777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erpetua" panose="02020502060401020303" pitchFamily="18" charset="0"/>
            </a:endParaRPr>
          </a:p>
          <a:p>
            <a:pPr marL="0" marR="0" lvl="0" indent="0" algn="l" defTabSz="916777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A8371F"/>
                </a:solidFill>
                <a:effectLst/>
                <a:uLnTx/>
                <a:uFillTx/>
                <a:latin typeface="Perpetua" panose="02020502060401020303" pitchFamily="18" charset="0"/>
              </a:rPr>
              <a:t>Aging Details:</a:t>
            </a:r>
          </a:p>
          <a:p>
            <a:pPr lvl="0" defTabSz="9167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>
                <a:latin typeface="Perpetua" panose="02020502060401020303" pitchFamily="18" charset="0"/>
              </a:rPr>
              <a:t>Aged for 12 months in large oak casks, delivering a smooth, mature character with layered notes of spice, toasted wood, and rich depth. Crafted for balance and approachability with a refined finish ideal for sipping or cocktails.</a:t>
            </a:r>
          </a:p>
          <a:p>
            <a:pPr lvl="0" defTabSz="916777"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C46B3E"/>
              </a:solidFill>
              <a:effectLst/>
              <a:uLnTx/>
              <a:uFillTx/>
              <a:latin typeface="Perpetua" panose="02020502060401020303" pitchFamily="18" charset="0"/>
            </a:endParaRPr>
          </a:p>
          <a:p>
            <a:pPr lvl="0" defTabSz="9167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A8371F"/>
                </a:solidFill>
                <a:effectLst/>
                <a:uLnTx/>
                <a:uFillTx/>
                <a:latin typeface="Perpetua" panose="02020502060401020303" pitchFamily="18" charset="0"/>
              </a:rPr>
              <a:t>Serving Suggestion: </a:t>
            </a:r>
          </a:p>
          <a:p>
            <a:pPr lvl="0" defTabSz="9167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>
                <a:latin typeface="Perpetua" panose="02020502060401020303" pitchFamily="18" charset="0"/>
              </a:rPr>
              <a:t>Traditionally enjoyed neat as a digestif in a Cognac glass, Constantino is also exceptionally versatile in modern serves. Enjoy over ice, mixed with juice, or paired with Coca-Cola and a fresh lemon slice for an easy, refreshing cocktail.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983320"/>
              </a:solidFill>
              <a:effectLst/>
              <a:uLnTx/>
              <a:uFillTx/>
              <a:latin typeface="Perpetua" panose="02020502060401020303" pitchFamily="18" charset="0"/>
            </a:endParaRPr>
          </a:p>
          <a:p>
            <a:pPr marL="0" marR="0" lvl="0" indent="0" algn="l" defTabSz="916777" rtl="0" eaLnBrk="1" fontAlgn="base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600" b="1" dirty="0">
              <a:solidFill>
                <a:srgbClr val="983320"/>
              </a:solidFill>
              <a:latin typeface="Perpetua" panose="02020502060401020303" pitchFamily="18" charset="0"/>
            </a:endParaRPr>
          </a:p>
          <a:p>
            <a:pPr marL="0" marR="0" lvl="0" indent="0" algn="l" defTabSz="916777" rtl="0" eaLnBrk="1" fontAlgn="base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A8371F"/>
                </a:solidFill>
                <a:effectLst/>
                <a:uLnTx/>
                <a:uFillTx/>
                <a:latin typeface="Perpetua" panose="02020502060401020303" pitchFamily="18" charset="0"/>
              </a:rPr>
              <a:t>ABV: </a:t>
            </a:r>
            <a:r>
              <a:rPr kumimoji="0" lang="en-US" sz="16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Perpetua" panose="02020502060401020303" pitchFamily="18" charset="0"/>
              </a:rPr>
              <a:t>40%          </a:t>
            </a:r>
          </a:p>
          <a:p>
            <a:pPr marL="0" marR="0" lvl="0" indent="0" algn="l" defTabSz="916777" rtl="0" eaLnBrk="1" fontAlgn="base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A8371F"/>
                </a:solidFill>
                <a:effectLst/>
                <a:uLnTx/>
                <a:uFillTx/>
                <a:latin typeface="Perpetua" panose="02020502060401020303" pitchFamily="18" charset="0"/>
              </a:rPr>
              <a:t>SRP: </a:t>
            </a:r>
            <a:r>
              <a:rPr kumimoji="0" lang="en-US" sz="16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Perpetua" panose="02020502060401020303" pitchFamily="18" charset="0"/>
              </a:rPr>
              <a:t>$24.99</a:t>
            </a:r>
          </a:p>
          <a:p>
            <a:pPr marL="0" marR="0" lvl="0" indent="0" algn="l" defTabSz="9167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983320"/>
              </a:solidFill>
              <a:effectLst/>
              <a:uLnTx/>
              <a:uFillTx/>
              <a:latin typeface="Palatino Linotype" panose="02040502050505030304" pitchFamily="18" charset="0"/>
              <a:ea typeface="+mn-ea"/>
              <a:cs typeface="+mn-cs"/>
            </a:endParaRPr>
          </a:p>
          <a:p>
            <a:pPr marL="0" marR="0" lvl="0" indent="0" algn="l" defTabSz="9167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983320"/>
              </a:solidFill>
              <a:effectLst/>
              <a:uLnTx/>
              <a:uFillTx/>
              <a:latin typeface="Palatino Linotype" panose="02040502050505030304" pitchFamily="18" charset="0"/>
              <a:ea typeface="+mn-ea"/>
              <a:cs typeface="+mn-cs"/>
            </a:endParaRPr>
          </a:p>
          <a:p>
            <a:pPr marL="0" marR="0" lvl="0" indent="0" algn="l" defTabSz="9167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983320"/>
              </a:solidFill>
              <a:effectLst/>
              <a:uLnTx/>
              <a:uFillTx/>
              <a:latin typeface="Palatino Linotype" panose="02040502050505030304" pitchFamily="18" charset="0"/>
              <a:ea typeface="+mn-ea"/>
              <a:cs typeface="+mn-cs"/>
            </a:endParaRPr>
          </a:p>
          <a:p>
            <a:pPr marL="0" marR="0" lvl="0" indent="0" algn="l" defTabSz="9167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5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alatino Linotype" panose="02040502050505030304" pitchFamily="18" charset="0"/>
              <a:ea typeface="+mn-ea"/>
              <a:cs typeface="+mn-cs"/>
            </a:endParaRPr>
          </a:p>
          <a:p>
            <a:pPr marL="0" marR="0" lvl="0" indent="0" algn="l" defTabSz="9167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alatino Linotype" panose="02040502050505030304" pitchFamily="18" charset="0"/>
                <a:ea typeface="+mn-ea"/>
                <a:cs typeface="+mn-cs"/>
              </a:rPr>
              <a:t> 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27F355C-0324-BF1B-7CFA-4DB41E9692A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9708" y="1187776"/>
            <a:ext cx="1582090" cy="4982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080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A8371F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DDF8803-8C51-D40E-5C71-9E9CA53074E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BD5208B0-2A85-2B53-BA08-B9CFAC3F7A80}"/>
              </a:ext>
            </a:extLst>
          </p:cNvPr>
          <p:cNvSpPr/>
          <p:nvPr/>
        </p:nvSpPr>
        <p:spPr>
          <a:xfrm>
            <a:off x="426741" y="477136"/>
            <a:ext cx="223854" cy="50045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6777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5">
              <a:solidFill>
                <a:srgbClr val="FFFFFF"/>
              </a:solidFill>
              <a:latin typeface="Century Gothic" panose="020F0302020204030204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2410B8B-57FA-6F8F-742E-26E2CB5E6EF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95197412"/>
              </p:ext>
            </p:extLst>
          </p:nvPr>
        </p:nvGraphicFramePr>
        <p:xfrm>
          <a:off x="2643643" y="903248"/>
          <a:ext cx="6400800" cy="4963562"/>
        </p:xfrm>
        <a:graphic>
          <a:graphicData uri="http://schemas.openxmlformats.org/drawingml/2006/table">
            <a:tbl>
              <a:tblPr/>
              <a:tblGrid>
                <a:gridCol w="2281473">
                  <a:extLst>
                    <a:ext uri="{9D8B030D-6E8A-4147-A177-3AD203B41FA5}">
                      <a16:colId xmlns:a16="http://schemas.microsoft.com/office/drawing/2014/main" val="2309433454"/>
                    </a:ext>
                  </a:extLst>
                </a:gridCol>
                <a:gridCol w="4119327">
                  <a:extLst>
                    <a:ext uri="{9D8B030D-6E8A-4147-A177-3AD203B41FA5}">
                      <a16:colId xmlns:a16="http://schemas.microsoft.com/office/drawing/2014/main" val="489126634"/>
                    </a:ext>
                  </a:extLst>
                </a:gridCol>
              </a:tblGrid>
              <a:tr h="315719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Perpetua" panose="02020502060401020303" pitchFamily="18" charset="0"/>
                        </a:rPr>
                        <a:t>Brand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Perpetua" panose="02020502060401020303" pitchFamily="18" charset="0"/>
                        </a:rPr>
                        <a:t>Constantino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88623814"/>
                  </a:ext>
                </a:extLst>
              </a:tr>
              <a:tr h="315719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Perpetua" panose="02020502060401020303" pitchFamily="18" charset="0"/>
                        </a:rPr>
                        <a:t>Product Description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Perpetua" panose="02020502060401020303" pitchFamily="18" charset="0"/>
                        </a:rPr>
                        <a:t>Spirit Drink 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92696313"/>
                  </a:ext>
                </a:extLst>
              </a:tr>
              <a:tr h="315719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Perpetua" panose="02020502060401020303" pitchFamily="18" charset="0"/>
                        </a:rPr>
                        <a:t>Size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Perpetua" panose="02020502060401020303" pitchFamily="18" charset="0"/>
                        </a:rPr>
                        <a:t>12/1 L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8770418"/>
                  </a:ext>
                </a:extLst>
              </a:tr>
              <a:tr h="227777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Perpetua" panose="02020502060401020303" pitchFamily="18" charset="0"/>
                        </a:rPr>
                        <a:t>UPC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Perpetua" panose="02020502060401020303" pitchFamily="18" charset="0"/>
                        </a:rPr>
                        <a:t>7 39949 02526 2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97729975"/>
                  </a:ext>
                </a:extLst>
              </a:tr>
              <a:tr h="315719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Perpetua" panose="02020502060401020303" pitchFamily="18" charset="0"/>
                        </a:rPr>
                        <a:t>SCC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Perpetua" panose="02020502060401020303" pitchFamily="18" charset="0"/>
                        </a:rPr>
                        <a:t>65601583081089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66130895"/>
                  </a:ext>
                </a:extLst>
              </a:tr>
              <a:tr h="315719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Perpetua" panose="02020502060401020303" pitchFamily="18" charset="0"/>
                        </a:rPr>
                        <a:t>Cases per pallet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Perpetua" panose="02020502060401020303" pitchFamily="18" charset="0"/>
                        </a:rPr>
                        <a:t>44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69203158"/>
                  </a:ext>
                </a:extLst>
              </a:tr>
              <a:tr h="315719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Perpetua" panose="02020502060401020303" pitchFamily="18" charset="0"/>
                        </a:rPr>
                        <a:t>Case weight (</a:t>
                      </a:r>
                      <a:r>
                        <a:rPr lang="en-US" sz="1400" b="1" i="0" u="none" strike="noStrike" err="1">
                          <a:solidFill>
                            <a:srgbClr val="000000"/>
                          </a:solidFill>
                          <a:effectLst/>
                          <a:latin typeface="Perpetua" panose="02020502060401020303" pitchFamily="18" charset="0"/>
                        </a:rPr>
                        <a:t>lbs</a:t>
                      </a:r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Perpetua" panose="02020502060401020303" pitchFamily="18" charset="0"/>
                        </a:rPr>
                        <a:t>)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Perpetua" panose="02020502060401020303" pitchFamily="18" charset="0"/>
                        </a:rPr>
                        <a:t>44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74901919"/>
                  </a:ext>
                </a:extLst>
              </a:tr>
              <a:tr h="315719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Perpetua" panose="02020502060401020303" pitchFamily="18" charset="0"/>
                        </a:rPr>
                        <a:t>Layers per pallet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Perpetua" panose="02020502060401020303" pitchFamily="18" charset="0"/>
                        </a:rPr>
                        <a:t>4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93820578"/>
                  </a:ext>
                </a:extLst>
              </a:tr>
              <a:tr h="315719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Perpetua" panose="02020502060401020303" pitchFamily="18" charset="0"/>
                        </a:rPr>
                        <a:t>Cases per layer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Perpetua" panose="02020502060401020303" pitchFamily="18" charset="0"/>
                        </a:rPr>
                        <a:t>11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0427798"/>
                  </a:ext>
                </a:extLst>
              </a:tr>
              <a:tr h="315719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Perpetua" panose="02020502060401020303" pitchFamily="18" charset="0"/>
                        </a:rPr>
                        <a:t>Case Length (inches)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Perpetua" panose="02020502060401020303" pitchFamily="18" charset="0"/>
                        </a:rPr>
                        <a:t>15.32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68353068"/>
                  </a:ext>
                </a:extLst>
              </a:tr>
              <a:tr h="315719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Perpetua" panose="02020502060401020303" pitchFamily="18" charset="0"/>
                        </a:rPr>
                        <a:t>Case Width  (inches)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Perpetua" panose="02020502060401020303" pitchFamily="18" charset="0"/>
                        </a:rPr>
                        <a:t>11.54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9891138"/>
                  </a:ext>
                </a:extLst>
              </a:tr>
              <a:tr h="315719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Perpetua" panose="02020502060401020303" pitchFamily="18" charset="0"/>
                        </a:rPr>
                        <a:t>Case Height  (inches)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Perpetua" panose="02020502060401020303" pitchFamily="18" charset="0"/>
                        </a:rPr>
                        <a:t>11.85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6410501"/>
                  </a:ext>
                </a:extLst>
              </a:tr>
              <a:tr h="315719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Perpetua" panose="02020502060401020303" pitchFamily="18" charset="0"/>
                        </a:rPr>
                        <a:t>Bottle Weight (</a:t>
                      </a:r>
                      <a:r>
                        <a:rPr lang="en-US" sz="1400" b="1" i="0" u="none" strike="noStrike" err="1">
                          <a:solidFill>
                            <a:srgbClr val="000000"/>
                          </a:solidFill>
                          <a:effectLst/>
                          <a:latin typeface="Perpetua" panose="02020502060401020303" pitchFamily="18" charset="0"/>
                        </a:rPr>
                        <a:t>lbs</a:t>
                      </a:r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Perpetua" panose="02020502060401020303" pitchFamily="18" charset="0"/>
                        </a:rPr>
                        <a:t>)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Perpetua" panose="02020502060401020303" pitchFamily="18" charset="0"/>
                        </a:rPr>
                        <a:t>3.45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31655042"/>
                  </a:ext>
                </a:extLst>
              </a:tr>
              <a:tr h="315719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Perpetua" panose="02020502060401020303" pitchFamily="18" charset="0"/>
                        </a:rPr>
                        <a:t>Bottle Length  (inches)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Perpetua" panose="02020502060401020303" pitchFamily="18" charset="0"/>
                        </a:rPr>
                        <a:t>3.66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8240215"/>
                  </a:ext>
                </a:extLst>
              </a:tr>
              <a:tr h="315719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Perpetua" panose="02020502060401020303" pitchFamily="18" charset="0"/>
                        </a:rPr>
                        <a:t>Bottle Width  (inches)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Perpetua" panose="02020502060401020303" pitchFamily="18" charset="0"/>
                        </a:rPr>
                        <a:t>3.66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13565766"/>
                  </a:ext>
                </a:extLst>
              </a:tr>
              <a:tr h="315719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Perpetua" panose="02020502060401020303" pitchFamily="18" charset="0"/>
                        </a:rPr>
                        <a:t>Bottle Height  (inches)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Perpetua" panose="02020502060401020303" pitchFamily="18" charset="0"/>
                        </a:rPr>
                        <a:t>10.31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423767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3895676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4_Mateus Template">
  <a:themeElements>
    <a:clrScheme name="Evaton Mateus 2021">
      <a:dk1>
        <a:srgbClr val="000000"/>
      </a:dk1>
      <a:lt1>
        <a:srgbClr val="FFFFFF"/>
      </a:lt1>
      <a:dk2>
        <a:srgbClr val="848587"/>
      </a:dk2>
      <a:lt2>
        <a:srgbClr val="FFFFFF"/>
      </a:lt2>
      <a:accent1>
        <a:srgbClr val="D31266"/>
      </a:accent1>
      <a:accent2>
        <a:srgbClr val="FFBCC5"/>
      </a:accent2>
      <a:accent3>
        <a:srgbClr val="CFD1D0"/>
      </a:accent3>
      <a:accent4>
        <a:srgbClr val="00C5D6"/>
      </a:accent4>
      <a:accent5>
        <a:srgbClr val="A2E2E6"/>
      </a:accent5>
      <a:accent6>
        <a:srgbClr val="7BCB00"/>
      </a:accent6>
      <a:hlink>
        <a:srgbClr val="848587"/>
      </a:hlink>
      <a:folHlink>
        <a:srgbClr val="CFD1D0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flat" cmpd="sng" algn="ctr">
          <a:solidFill>
            <a:schemeClr val="accent3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noAutofit/>
      </a:bodyPr>
      <a:lstStyle>
        <a:defPPr algn="l">
          <a:defRPr sz="14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d5f561ee-3f6e-4885-a007-e765bcb8796b">
      <Terms xmlns="http://schemas.microsoft.com/office/infopath/2007/PartnerControls"/>
    </lcf76f155ced4ddcb4097134ff3c332f>
    <_ip_UnifiedCompliancePolicyUIAction xmlns="http://schemas.microsoft.com/sharepoint/v3" xsi:nil="true"/>
    <TaxCatchAll xmlns="fccfd93c-f7b4-4432-aba3-b2b6058da4f2" xsi:nil="true"/>
    <_ip_UnifiedCompliancePolicyProperties xmlns="http://schemas.microsoft.com/sharepoint/v3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9DF90C231B11B47AF89F49346732DE7" ma:contentTypeVersion="21" ma:contentTypeDescription="Create a new document." ma:contentTypeScope="" ma:versionID="48613ae7b28f6bbd337e5824c4b73262">
  <xsd:schema xmlns:xsd="http://www.w3.org/2001/XMLSchema" xmlns:xs="http://www.w3.org/2001/XMLSchema" xmlns:p="http://schemas.microsoft.com/office/2006/metadata/properties" xmlns:ns1="http://schemas.microsoft.com/sharepoint/v3" xmlns:ns2="d5f561ee-3f6e-4885-a007-e765bcb8796b" xmlns:ns3="fccfd93c-f7b4-4432-aba3-b2b6058da4f2" targetNamespace="http://schemas.microsoft.com/office/2006/metadata/properties" ma:root="true" ma:fieldsID="147eef61fd023860ed6886612d6db3bd" ns1:_="" ns2:_="" ns3:_="">
    <xsd:import namespace="http://schemas.microsoft.com/sharepoint/v3"/>
    <xsd:import namespace="d5f561ee-3f6e-4885-a007-e765bcb8796b"/>
    <xsd:import namespace="fccfd93c-f7b4-4432-aba3-b2b6058da4f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  <xsd:element ref="ns1:_ip_UnifiedCompliancePolicyProperties" minOccurs="0"/>
                <xsd:element ref="ns1:_ip_UnifiedCompliancePolicyUIAction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6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7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5f561ee-3f6e-4885-a007-e765bcb8796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9af543e1-7c34-4607-acae-d9a0e85118e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28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ccfd93c-f7b4-4432-aba3-b2b6058da4f2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ef21fac6-20fb-47ed-aecb-ce6356179785}" ma:internalName="TaxCatchAll" ma:showField="CatchAllData" ma:web="fccfd93c-f7b4-4432-aba3-b2b6058da4f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70384F9-F983-4440-A5F4-125AFF359DB0}">
  <ds:schemaRefs>
    <ds:schemaRef ds:uri="http://schemas.microsoft.com/office/2006/metadata/properties"/>
    <ds:schemaRef ds:uri="http://schemas.microsoft.com/office/infopath/2007/PartnerControls"/>
    <ds:schemaRef ds:uri="d5f561ee-3f6e-4885-a007-e765bcb8796b"/>
    <ds:schemaRef ds:uri="http://schemas.microsoft.com/sharepoint/v3"/>
    <ds:schemaRef ds:uri="fccfd93c-f7b4-4432-aba3-b2b6058da4f2"/>
  </ds:schemaRefs>
</ds:datastoreItem>
</file>

<file path=customXml/itemProps2.xml><?xml version="1.0" encoding="utf-8"?>
<ds:datastoreItem xmlns:ds="http://schemas.openxmlformats.org/officeDocument/2006/customXml" ds:itemID="{7221A2FF-1E00-431D-ADCC-534AFF98D43D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35A376C-7966-4A95-906A-3582B962FC8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d5f561ee-3f6e-4885-a007-e765bcb8796b"/>
    <ds:schemaRef ds:uri="fccfd93c-f7b4-4432-aba3-b2b6058da4f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840</TotalTime>
  <Words>274</Words>
  <Application>Microsoft Office PowerPoint</Application>
  <PresentationFormat>Widescreen</PresentationFormat>
  <Paragraphs>55</Paragraphs>
  <Slides>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2" baseType="lpstr">
      <vt:lpstr>Aptos</vt:lpstr>
      <vt:lpstr>Arial</vt:lpstr>
      <vt:lpstr>Century Gothic</vt:lpstr>
      <vt:lpstr>Helvetica</vt:lpstr>
      <vt:lpstr>Mont Book</vt:lpstr>
      <vt:lpstr>Palatino Linotype</vt:lpstr>
      <vt:lpstr>Perpetua</vt:lpstr>
      <vt:lpstr>System Font Regular</vt:lpstr>
      <vt:lpstr>4_Mateus Template</vt:lpstr>
      <vt:lpstr>think-cell Slide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Kayla Roche</dc:creator>
  <cp:lastModifiedBy>Kayla Roche</cp:lastModifiedBy>
  <cp:revision>1</cp:revision>
  <dcterms:created xsi:type="dcterms:W3CDTF">2026-05-19T16:10:34Z</dcterms:created>
  <dcterms:modified xsi:type="dcterms:W3CDTF">2026-05-21T12:38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ff1eda69-e03a-4156-b495-51c634f6687d_Enabled">
    <vt:lpwstr>true</vt:lpwstr>
  </property>
  <property fmtid="{D5CDD505-2E9C-101B-9397-08002B2CF9AE}" pid="3" name="MSIP_Label_ff1eda69-e03a-4156-b495-51c634f6687d_SetDate">
    <vt:lpwstr>2026-05-20T01:14:33Z</vt:lpwstr>
  </property>
  <property fmtid="{D5CDD505-2E9C-101B-9397-08002B2CF9AE}" pid="4" name="MSIP_Label_ff1eda69-e03a-4156-b495-51c634f6687d_Method">
    <vt:lpwstr>Standard</vt:lpwstr>
  </property>
  <property fmtid="{D5CDD505-2E9C-101B-9397-08002B2CF9AE}" pid="5" name="MSIP_Label_ff1eda69-e03a-4156-b495-51c634f6687d_Name">
    <vt:lpwstr>ff1eda69-e03a-4156-b495-51c634f6687d</vt:lpwstr>
  </property>
  <property fmtid="{D5CDD505-2E9C-101B-9397-08002B2CF9AE}" pid="6" name="MSIP_Label_ff1eda69-e03a-4156-b495-51c634f6687d_SiteId">
    <vt:lpwstr>d14bc227-42e9-426c-86cc-0f1efb561a07</vt:lpwstr>
  </property>
  <property fmtid="{D5CDD505-2E9C-101B-9397-08002B2CF9AE}" pid="7" name="MSIP_Label_ff1eda69-e03a-4156-b495-51c634f6687d_ActionId">
    <vt:lpwstr>58fed3c4-2f68-4bb6-bebc-cfe244dc43e4</vt:lpwstr>
  </property>
  <property fmtid="{D5CDD505-2E9C-101B-9397-08002B2CF9AE}" pid="8" name="MSIP_Label_ff1eda69-e03a-4156-b495-51c634f6687d_ContentBits">
    <vt:lpwstr>0</vt:lpwstr>
  </property>
  <property fmtid="{D5CDD505-2E9C-101B-9397-08002B2CF9AE}" pid="9" name="MSIP_Label_ff1eda69-e03a-4156-b495-51c634f6687d_Tag">
    <vt:lpwstr>10, 3, 0, 1</vt:lpwstr>
  </property>
  <property fmtid="{D5CDD505-2E9C-101B-9397-08002B2CF9AE}" pid="10" name="ContentTypeId">
    <vt:lpwstr>0x01010029DF90C231B11B47AF89F49346732DE7</vt:lpwstr>
  </property>
  <property fmtid="{D5CDD505-2E9C-101B-9397-08002B2CF9AE}" pid="11" name="MediaServiceImageTags">
    <vt:lpwstr/>
  </property>
</Properties>
</file>